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65" r:id="rId2"/>
  </p:sldMasterIdLst>
  <p:notesMasterIdLst>
    <p:notesMasterId r:id="rId8"/>
  </p:notesMasterIdLst>
  <p:handoutMasterIdLst>
    <p:handoutMasterId r:id="rId9"/>
  </p:handoutMasterIdLst>
  <p:sldIdLst>
    <p:sldId id="344" r:id="rId3"/>
    <p:sldId id="350" r:id="rId4"/>
    <p:sldId id="347" r:id="rId5"/>
    <p:sldId id="349" r:id="rId6"/>
    <p:sldId id="348" r:id="rId7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14" autoAdjust="0"/>
  </p:normalViewPr>
  <p:slideViewPr>
    <p:cSldViewPr showGuides="1">
      <p:cViewPr varScale="1">
        <p:scale>
          <a:sx n="59" d="100"/>
          <a:sy n="59" d="100"/>
        </p:scale>
        <p:origin x="1776" y="66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18/09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429177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18/09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520824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853902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31539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27942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52588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1</a:t>
            </a:fld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4918037" y="1044326"/>
            <a:ext cx="2618024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User Stories 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1847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10EE8B1A-C18E-45E3-BE44-05D9C60F46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9143" y="2124447"/>
            <a:ext cx="8324663" cy="406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2313359" y="1154786"/>
            <a:ext cx="8718428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 err="1">
                <a:latin typeface="MV Boli" panose="02000500030200090000" pitchFamily="2" charset="0"/>
                <a:cs typeface="MV Boli" panose="02000500030200090000" pitchFamily="2" charset="0"/>
              </a:rPr>
              <a:t>User</a:t>
            </a:r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  <a:r>
              <a:rPr lang="pt-BR" sz="3087" b="1" dirty="0" err="1">
                <a:latin typeface="MV Boli" panose="02000500030200090000" pitchFamily="2" charset="0"/>
                <a:cs typeface="MV Boli" panose="02000500030200090000" pitchFamily="2" charset="0"/>
              </a:rPr>
              <a:t>Story</a:t>
            </a:r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 1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1847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3C28B43A-0C15-4A76-92CF-26DFD420012C}"/>
              </a:ext>
            </a:extLst>
          </p:cNvPr>
          <p:cNvSpPr/>
          <p:nvPr/>
        </p:nvSpPr>
        <p:spPr>
          <a:xfrm>
            <a:off x="4406981" y="1873517"/>
            <a:ext cx="8352927" cy="5088019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3500" dirty="0">
                <a:solidFill>
                  <a:srgbClr val="000000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u, como membro de uma pool de mineração de bitcoin, gostaria de ver gráficos do estado da minha maquina, para poder ter um maior controle do que ocorre com ela.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9254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3</a:t>
            </a:fld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2967777" y="1044587"/>
            <a:ext cx="7587563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 err="1">
                <a:latin typeface="MV Boli" panose="02000500030200090000" pitchFamily="2" charset="0"/>
                <a:cs typeface="MV Boli" panose="02000500030200090000" pitchFamily="2" charset="0"/>
              </a:rPr>
              <a:t>User</a:t>
            </a:r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  <a:r>
              <a:rPr lang="pt-BR" sz="3087" b="1" dirty="0" err="1">
                <a:latin typeface="MV Boli" panose="02000500030200090000" pitchFamily="2" charset="0"/>
                <a:cs typeface="MV Boli" panose="02000500030200090000" pitchFamily="2" charset="0"/>
              </a:rPr>
              <a:t>Story</a:t>
            </a:r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 2 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773844" y="2116264"/>
            <a:ext cx="7830310" cy="4512884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4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u, como minerador de criptomoedas , gostaria de um site que me mostrasse um histórico de uso da minha maquina, para poder conseguir trabalhar melhor com ela.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1847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5565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2313359" y="1154786"/>
            <a:ext cx="8718428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 err="1">
                <a:latin typeface="MV Boli" panose="02000500030200090000" pitchFamily="2" charset="0"/>
                <a:cs typeface="MV Boli" panose="02000500030200090000" pitchFamily="2" charset="0"/>
              </a:rPr>
              <a:t>User</a:t>
            </a:r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  <a:r>
              <a:rPr lang="pt-BR" sz="3087" b="1" dirty="0" err="1">
                <a:latin typeface="MV Boli" panose="02000500030200090000" pitchFamily="2" charset="0"/>
                <a:cs typeface="MV Boli" panose="02000500030200090000" pitchFamily="2" charset="0"/>
              </a:rPr>
              <a:t>Story</a:t>
            </a:r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 3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1847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3C28B43A-0C15-4A76-92CF-26DFD420012C}"/>
              </a:ext>
            </a:extLst>
          </p:cNvPr>
          <p:cNvSpPr/>
          <p:nvPr/>
        </p:nvSpPr>
        <p:spPr>
          <a:xfrm>
            <a:off x="4406981" y="1873517"/>
            <a:ext cx="8352927" cy="5088019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3500" dirty="0">
                <a:solidFill>
                  <a:srgbClr val="000000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u, como uma pessoa que trabalha com mineração de criptomoedas, gostaria de saber quando minha maquina vai parar de funcionar e de receber relatórios através de um site, para facilitar meu posicionamento em relação a quando fazer melhorias na minha maquina.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597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088747" y="1003449"/>
            <a:ext cx="7344816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 err="1">
                <a:latin typeface="MV Boli" panose="02000500030200090000" pitchFamily="2" charset="0"/>
                <a:cs typeface="MV Boli" panose="02000500030200090000" pitchFamily="2" charset="0"/>
              </a:rPr>
              <a:t>User</a:t>
            </a:r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  <a:r>
              <a:rPr lang="pt-BR" sz="3087" b="1" dirty="0" err="1">
                <a:latin typeface="MV Boli" panose="02000500030200090000" pitchFamily="2" charset="0"/>
                <a:cs typeface="MV Boli" panose="02000500030200090000" pitchFamily="2" charset="0"/>
              </a:rPr>
              <a:t>Story</a:t>
            </a:r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 4 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1847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5EF14859-1679-4894-9417-323A7CFE2383}"/>
              </a:ext>
            </a:extLst>
          </p:cNvPr>
          <p:cNvSpPr/>
          <p:nvPr/>
        </p:nvSpPr>
        <p:spPr>
          <a:xfrm>
            <a:off x="3707796" y="2270610"/>
            <a:ext cx="8718429" cy="4652258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u, como líder de um pool de criptomoedas gostaria de saber como as maquinas que utilizamos estão, para podermos ter um melhor gerenciamento do pool.</a:t>
            </a:r>
          </a:p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6750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37</TotalTime>
  <Words>171</Words>
  <Application>Microsoft Office PowerPoint</Application>
  <PresentationFormat>Personalizar</PresentationFormat>
  <Paragraphs>24</Paragraphs>
  <Slides>5</Slides>
  <Notes>5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4" baseType="lpstr">
      <vt:lpstr>Arial</vt:lpstr>
      <vt:lpstr>Calibri</vt:lpstr>
      <vt:lpstr>Exo 2</vt:lpstr>
      <vt:lpstr>MV Boli</vt:lpstr>
      <vt:lpstr>Simplon BP Medium</vt:lpstr>
      <vt:lpstr>Simplon BP Regular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Natalia Medina de Oliveira Juliano</cp:lastModifiedBy>
  <cp:revision>202</cp:revision>
  <dcterms:created xsi:type="dcterms:W3CDTF">2016-12-01T16:19:35Z</dcterms:created>
  <dcterms:modified xsi:type="dcterms:W3CDTF">2019-09-18T21:35:18Z</dcterms:modified>
</cp:coreProperties>
</file>